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3836" dt="2022-02-23T07:13:03.6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74" y="270"/>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3T07:12:57.569" v="668" actId="103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3T07:12:57.569" v="668" actId="103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2T16:00:34.062" v="591" actId="1036"/>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2T16:00:34.062" v="591" actId="1036"/>
          <ac:picMkLst>
            <pc:docMk/>
            <pc:sldMk cId="1609124706" sldId="2049"/>
            <ac:picMk id="8" creationId="{183685A2-5DC3-47D9-9FE3-49DCA1C005FB}"/>
          </ac:picMkLst>
        </pc:picChg>
        <pc:picChg chg="add mod">
          <ac:chgData name="Kümmerle, Markus" userId="edb588ad-b118-44cb-93b6-335b967c9009" providerId="ADAL" clId="{191D59EE-583A-4E7E-BC0E-2418733E0254}" dt="2022-02-23T07:12:57.569" v="668" actId="1036"/>
          <ac:picMkLst>
            <pc:docMk/>
            <pc:sldMk cId="1609124706" sldId="2049"/>
            <ac:picMk id="9" creationId="{35F3730C-39B0-414D-AC73-0D22051ED1DB}"/>
          </ac:picMkLst>
        </pc:picChg>
        <pc:picChg chg="add mod ord">
          <ac:chgData name="Kümmerle, Markus" userId="edb588ad-b118-44cb-93b6-335b967c9009" providerId="ADAL" clId="{191D59EE-583A-4E7E-BC0E-2418733E0254}" dt="2022-02-22T16:01:15.423" v="614" actId="1036"/>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2T16:01:15.423" v="614" actId="1036"/>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2T16:00:34.062" v="591" actId="1036"/>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2T16:01:15.423" v="614" actId="1036"/>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2T16:01:15.423" v="614" actId="1036"/>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2T15:52:09.459" v="552" actId="12789"/>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2T16:00:34.062" v="591" actId="1036"/>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2T16:00:34.062" v="591" actId="1036"/>
          <ac:picMkLst>
            <pc:docMk/>
            <pc:sldMk cId="1609124706" sldId="2049"/>
            <ac:picMk id="3089" creationId="{D3BB906B-B65F-4A67-98C4-862449CD2D41}"/>
          </ac:picMkLst>
        </pc:picChg>
        <pc:picChg chg="mod">
          <ac:chgData name="Kümmerle, Markus" userId="edb588ad-b118-44cb-93b6-335b967c9009" providerId="ADAL" clId="{191D59EE-583A-4E7E-BC0E-2418733E0254}" dt="2022-02-22T16:01:15.423" v="614" actId="1036"/>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3.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22.02.2022</a:t>
            </a:r>
            <a:endParaRPr lang="en-US" sz="90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11092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56623" y="3826163"/>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51279" y="2715894"/>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6242635" y="2733398"/>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4317199" y="2854958"/>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074746"/>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4329410" y="1951031"/>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5164615" y="3910411"/>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48714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29463" y="2692144"/>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2073940" y="2644556"/>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1341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1589450" y="1776073"/>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24408" y="50454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5217006" y="2056470"/>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259059" y="4040321"/>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6919681" y="3728357"/>
            <a:ext cx="1191973" cy="1191973"/>
          </a:xfrm>
          <a:prstGeom prst="rect">
            <a:avLst/>
          </a:prstGeom>
        </p:spPr>
      </p:pic>
      <p:pic>
        <p:nvPicPr>
          <p:cNvPr id="9" name="Grafik 8">
            <a:extLst>
              <a:ext uri="{FF2B5EF4-FFF2-40B4-BE49-F238E27FC236}">
                <a16:creationId xmlns:a16="http://schemas.microsoft.com/office/drawing/2014/main" id="{35F3730C-39B0-414D-AC73-0D22051ED1DB}"/>
              </a:ext>
            </a:extLst>
          </p:cNvPr>
          <p:cNvPicPr>
            <a:picLocks noChangeAspect="1"/>
          </p:cNvPicPr>
          <p:nvPr/>
        </p:nvPicPr>
        <p:blipFill>
          <a:blip r:embed="rId29"/>
          <a:stretch>
            <a:fillRect/>
          </a:stretch>
        </p:blipFill>
        <p:spPr>
          <a:xfrm>
            <a:off x="7636440" y="1628951"/>
            <a:ext cx="2285416" cy="1285547"/>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Calibri</vt:lpstr>
      <vt:lpstr>FlexoSoft</vt:lpstr>
      <vt:lpstr>Wingdings</vt:lpstr>
      <vt:lpstr>FlexoSoft DemiBold</vt:lpstr>
      <vt:lpstr>FlexoSoft Light</vt:lpstr>
      <vt:lpstr>Arial</vt:lpstr>
      <vt:lpstr>Wingdings 2</vt:lpstr>
      <vt:lpstr>FlexoSoft Medium</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2-23T07:1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